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12"/>
  </p:notesMasterIdLst>
  <p:handoutMasterIdLst>
    <p:handoutMasterId r:id="rId13"/>
  </p:handoutMasterIdLst>
  <p:sldIdLst>
    <p:sldId id="5002" r:id="rId5"/>
    <p:sldId id="5003" r:id="rId6"/>
    <p:sldId id="3344" r:id="rId7"/>
    <p:sldId id="5005" r:id="rId8"/>
    <p:sldId id="3355" r:id="rId9"/>
    <p:sldId id="5004" r:id="rId10"/>
    <p:sldId id="5007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0392" autoAdjust="0"/>
  </p:normalViewPr>
  <p:slideViewPr>
    <p:cSldViewPr snapToGrid="0" showGuides="1">
      <p:cViewPr varScale="1">
        <p:scale>
          <a:sx n="87" d="100"/>
          <a:sy n="87" d="100"/>
        </p:scale>
        <p:origin x="1358" y="72"/>
      </p:cViewPr>
      <p:guideLst>
        <p:guide pos="5760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04/11/2025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Nº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04/11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44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cs typeface="Calibri" panose="020F0502020204030204" pitchFamily="34" charset="0"/>
              </a:rPr>
              <a:t>SS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4E98E-D8D6-4EFD-B00B-16AC5B6BC3A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731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4E98E-D8D6-4EFD-B00B-16AC5B6BC3A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592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cs typeface="Calibri" panose="020F0502020204030204" pitchFamily="34" charset="0"/>
              </a:rPr>
              <a:t>SS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4E98E-D8D6-4EFD-B00B-16AC5B6BC3A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1564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cs typeface="Calibri" panose="020F0502020204030204" pitchFamily="34" charset="0"/>
              </a:rPr>
              <a:t>SS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4E98E-D8D6-4EFD-B00B-16AC5B6BC3AC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820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cs typeface="Calibri" panose="020F0502020204030204" pitchFamily="34" charset="0"/>
              </a:rPr>
              <a:t>SS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4E98E-D8D6-4EFD-B00B-16AC5B6BC3AC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531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dirty="0"/>
              <a:t>Drag </a:t>
            </a:r>
            <a:r>
              <a:rPr lang="en-US" noProof="0" dirty="0"/>
              <a:t>picture</a:t>
            </a:r>
            <a:r>
              <a:rPr lang="en-US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528903"/>
            <a:ext cx="8238319" cy="313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393031" y="1125082"/>
            <a:ext cx="8238319" cy="3673610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4487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into placeholder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  <a:br>
              <a:rPr lang="en-US" dirty="0"/>
            </a:br>
            <a:r>
              <a:rPr lang="en-US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  <p:sldLayoutId id="2147483805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.elsevier.com/app/answers/detail/a_id/14808/supporthub/scopu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6164F-14D7-4C97-AFFF-0E08E03824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3388" y="1515697"/>
            <a:ext cx="5797295" cy="1034203"/>
          </a:xfrm>
        </p:spPr>
        <p:txBody>
          <a:bodyPr/>
          <a:lstStyle/>
          <a:p>
            <a:r>
              <a:rPr lang="en-US" dirty="0"/>
              <a:t>Scopus Advanced Sear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43E2E1-D8D0-428F-9CE1-98FD10199A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rma libre: forma 8">
            <a:extLst>
              <a:ext uri="{FF2B5EF4-FFF2-40B4-BE49-F238E27FC236}">
                <a16:creationId xmlns:a16="http://schemas.microsoft.com/office/drawing/2014/main" id="{39072F31-BA78-CD95-E4EA-51BBF7F6C1BE}"/>
              </a:ext>
            </a:extLst>
          </p:cNvPr>
          <p:cNvSpPr/>
          <p:nvPr/>
        </p:nvSpPr>
        <p:spPr>
          <a:xfrm>
            <a:off x="4269545" y="1645870"/>
            <a:ext cx="1033975" cy="344708"/>
          </a:xfrm>
          <a:custGeom>
            <a:avLst/>
            <a:gdLst>
              <a:gd name="connsiteX0" fmla="*/ 914400 w 1033975"/>
              <a:gd name="connsiteY0" fmla="*/ 35219 h 344708"/>
              <a:gd name="connsiteX1" fmla="*/ 773723 w 1033975"/>
              <a:gd name="connsiteY1" fmla="*/ 7084 h 344708"/>
              <a:gd name="connsiteX2" fmla="*/ 696350 w 1033975"/>
              <a:gd name="connsiteY2" fmla="*/ 50 h 344708"/>
              <a:gd name="connsiteX3" fmla="*/ 56270 w 1033975"/>
              <a:gd name="connsiteY3" fmla="*/ 21152 h 344708"/>
              <a:gd name="connsiteX4" fmla="*/ 28135 w 1033975"/>
              <a:gd name="connsiteY4" fmla="*/ 42253 h 344708"/>
              <a:gd name="connsiteX5" fmla="*/ 14067 w 1033975"/>
              <a:gd name="connsiteY5" fmla="*/ 84456 h 344708"/>
              <a:gd name="connsiteX6" fmla="*/ 0 w 1033975"/>
              <a:gd name="connsiteY6" fmla="*/ 154795 h 344708"/>
              <a:gd name="connsiteX7" fmla="*/ 21101 w 1033975"/>
              <a:gd name="connsiteY7" fmla="*/ 232167 h 344708"/>
              <a:gd name="connsiteX8" fmla="*/ 154744 w 1033975"/>
              <a:gd name="connsiteY8" fmla="*/ 337675 h 344708"/>
              <a:gd name="connsiteX9" fmla="*/ 281353 w 1033975"/>
              <a:gd name="connsiteY9" fmla="*/ 344708 h 344708"/>
              <a:gd name="connsiteX10" fmla="*/ 478301 w 1033975"/>
              <a:gd name="connsiteY10" fmla="*/ 330641 h 344708"/>
              <a:gd name="connsiteX11" fmla="*/ 562707 w 1033975"/>
              <a:gd name="connsiteY11" fmla="*/ 323607 h 344708"/>
              <a:gd name="connsiteX12" fmla="*/ 893298 w 1033975"/>
              <a:gd name="connsiteY12" fmla="*/ 309539 h 344708"/>
              <a:gd name="connsiteX13" fmla="*/ 1005840 w 1033975"/>
              <a:gd name="connsiteY13" fmla="*/ 239201 h 344708"/>
              <a:gd name="connsiteX14" fmla="*/ 1033975 w 1033975"/>
              <a:gd name="connsiteY14" fmla="*/ 182930 h 344708"/>
              <a:gd name="connsiteX15" fmla="*/ 1012873 w 1033975"/>
              <a:gd name="connsiteY15" fmla="*/ 77422 h 344708"/>
              <a:gd name="connsiteX16" fmla="*/ 984738 w 1033975"/>
              <a:gd name="connsiteY16" fmla="*/ 56321 h 344708"/>
              <a:gd name="connsiteX17" fmla="*/ 900332 w 1033975"/>
              <a:gd name="connsiteY17" fmla="*/ 42253 h 344708"/>
              <a:gd name="connsiteX18" fmla="*/ 858129 w 1033975"/>
              <a:gd name="connsiteY18" fmla="*/ 28185 h 34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33975" h="344708">
                <a:moveTo>
                  <a:pt x="914400" y="35219"/>
                </a:moveTo>
                <a:cubicBezTo>
                  <a:pt x="867508" y="25841"/>
                  <a:pt x="820934" y="14699"/>
                  <a:pt x="773723" y="7084"/>
                </a:cubicBezTo>
                <a:cubicBezTo>
                  <a:pt x="748156" y="2960"/>
                  <a:pt x="722242" y="-458"/>
                  <a:pt x="696350" y="50"/>
                </a:cubicBezTo>
                <a:cubicBezTo>
                  <a:pt x="482915" y="4235"/>
                  <a:pt x="269630" y="14118"/>
                  <a:pt x="56270" y="21152"/>
                </a:cubicBezTo>
                <a:cubicBezTo>
                  <a:pt x="46892" y="28186"/>
                  <a:pt x="34638" y="32499"/>
                  <a:pt x="28135" y="42253"/>
                </a:cubicBezTo>
                <a:cubicBezTo>
                  <a:pt x="19909" y="54591"/>
                  <a:pt x="18328" y="70253"/>
                  <a:pt x="14067" y="84456"/>
                </a:cubicBezTo>
                <a:cubicBezTo>
                  <a:pt x="6197" y="110690"/>
                  <a:pt x="4753" y="126274"/>
                  <a:pt x="0" y="154795"/>
                </a:cubicBezTo>
                <a:cubicBezTo>
                  <a:pt x="7034" y="180586"/>
                  <a:pt x="8218" y="208743"/>
                  <a:pt x="21101" y="232167"/>
                </a:cubicBezTo>
                <a:cubicBezTo>
                  <a:pt x="44639" y="274964"/>
                  <a:pt x="106955" y="326140"/>
                  <a:pt x="154744" y="337675"/>
                </a:cubicBezTo>
                <a:cubicBezTo>
                  <a:pt x="195832" y="347593"/>
                  <a:pt x="239150" y="342364"/>
                  <a:pt x="281353" y="344708"/>
                </a:cubicBezTo>
                <a:lnTo>
                  <a:pt x="478301" y="330641"/>
                </a:lnTo>
                <a:cubicBezTo>
                  <a:pt x="506455" y="328530"/>
                  <a:pt x="534511" y="325041"/>
                  <a:pt x="562707" y="323607"/>
                </a:cubicBezTo>
                <a:lnTo>
                  <a:pt x="893298" y="309539"/>
                </a:lnTo>
                <a:cubicBezTo>
                  <a:pt x="931371" y="290503"/>
                  <a:pt x="976711" y="270410"/>
                  <a:pt x="1005840" y="239201"/>
                </a:cubicBezTo>
                <a:cubicBezTo>
                  <a:pt x="1020149" y="223870"/>
                  <a:pt x="1033975" y="182930"/>
                  <a:pt x="1033975" y="182930"/>
                </a:cubicBezTo>
                <a:cubicBezTo>
                  <a:pt x="1026941" y="147761"/>
                  <a:pt x="1025872" y="110849"/>
                  <a:pt x="1012873" y="77422"/>
                </a:cubicBezTo>
                <a:cubicBezTo>
                  <a:pt x="1008624" y="66496"/>
                  <a:pt x="995927" y="59818"/>
                  <a:pt x="984738" y="56321"/>
                </a:cubicBezTo>
                <a:cubicBezTo>
                  <a:pt x="957513" y="47813"/>
                  <a:pt x="928176" y="48441"/>
                  <a:pt x="900332" y="42253"/>
                </a:cubicBezTo>
                <a:cubicBezTo>
                  <a:pt x="885856" y="39036"/>
                  <a:pt x="872197" y="32874"/>
                  <a:pt x="858129" y="28185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E9133D0-303A-469C-0548-187AEEC749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823" y="429031"/>
            <a:ext cx="3427140" cy="45498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8D746B6B-81A9-3A86-C180-A60BD4E2E2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0073" y="243477"/>
            <a:ext cx="1979712" cy="64053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38EF5F31-1AE0-8588-B51E-AE2541DCB1FF}"/>
              </a:ext>
            </a:extLst>
          </p:cNvPr>
          <p:cNvSpPr txBox="1"/>
          <p:nvPr/>
        </p:nvSpPr>
        <p:spPr>
          <a:xfrm>
            <a:off x="100381" y="4196271"/>
            <a:ext cx="4584030" cy="7696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467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E Business School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tes, 11 de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viembre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20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entado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r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blo Secades, CSM Elsevier</a:t>
            </a:r>
          </a:p>
        </p:txBody>
      </p:sp>
    </p:spTree>
    <p:extLst>
      <p:ext uri="{BB962C8B-B14F-4D97-AF65-F5344CB8AC3E}">
        <p14:creationId xmlns:p14="http://schemas.microsoft.com/office/powerpoint/2010/main" val="63758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A43D09-772D-C4A4-B1C5-6C6987A16F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2419" y="438112"/>
            <a:ext cx="7639161" cy="187978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b="0" i="0" dirty="0">
                <a:solidFill>
                  <a:schemeClr val="accent2"/>
                </a:solidFill>
                <a:effectLst/>
                <a:highlight>
                  <a:srgbClr val="FFFFFF"/>
                </a:highlight>
                <a:latin typeface="NexusSans"/>
              </a:rPr>
              <a:t>Scopus advanced search </a:t>
            </a:r>
            <a:r>
              <a:rPr lang="en-GB" sz="2800" b="0" i="0" dirty="0">
                <a:effectLst/>
                <a:highlight>
                  <a:srgbClr val="FFFFFF"/>
                </a:highlight>
                <a:latin typeface="NexusSans"/>
              </a:rPr>
              <a:t>allows you to enter complex search queries using </a:t>
            </a:r>
            <a:r>
              <a:rPr lang="en-GB" sz="2800" b="0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NexusSans"/>
              </a:rPr>
              <a:t>field codes</a:t>
            </a:r>
            <a:r>
              <a:rPr lang="en-GB" sz="2800" b="0" i="0" dirty="0">
                <a:effectLst/>
                <a:highlight>
                  <a:srgbClr val="FFFFFF"/>
                </a:highlight>
                <a:latin typeface="NexusSans"/>
              </a:rPr>
              <a:t>, </a:t>
            </a:r>
            <a:r>
              <a:rPr lang="en-GB" sz="2800" b="0" i="0" dirty="0" err="1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NexusSans"/>
              </a:rPr>
              <a:t>boolean</a:t>
            </a:r>
            <a:r>
              <a:rPr lang="en-GB" sz="2800" b="0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NexusSans"/>
              </a:rPr>
              <a:t> and proximity operators </a:t>
            </a:r>
            <a:r>
              <a:rPr lang="en-GB" sz="2800" b="0" i="0" dirty="0">
                <a:effectLst/>
                <a:highlight>
                  <a:srgbClr val="FFFFFF"/>
                </a:highlight>
                <a:latin typeface="NexusSans"/>
              </a:rPr>
              <a:t>to narrow the scope of your search.</a:t>
            </a:r>
            <a:endParaRPr lang="es-CO" sz="2800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E603CFD-D8AA-7C67-257F-0A02E50177F5}"/>
              </a:ext>
            </a:extLst>
          </p:cNvPr>
          <p:cNvSpPr txBox="1">
            <a:spLocks/>
          </p:cNvSpPr>
          <p:nvPr/>
        </p:nvSpPr>
        <p:spPr>
          <a:xfrm>
            <a:off x="752418" y="2488222"/>
            <a:ext cx="7639161" cy="1879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800" dirty="0">
                <a:highlight>
                  <a:srgbClr val="FFFFFF"/>
                </a:highlight>
                <a:latin typeface="NexusSans"/>
              </a:rPr>
              <a:t>A</a:t>
            </a:r>
            <a:r>
              <a:rPr lang="en-GB" sz="2800" dirty="0">
                <a:solidFill>
                  <a:schemeClr val="accent2"/>
                </a:solidFill>
                <a:highlight>
                  <a:srgbClr val="FFFFFF"/>
                </a:highlight>
                <a:latin typeface="NexusSans"/>
              </a:rPr>
              <a:t> query </a:t>
            </a:r>
            <a:r>
              <a:rPr lang="en-GB" sz="2800" dirty="0">
                <a:highlight>
                  <a:srgbClr val="FFFFFF"/>
                </a:highlight>
                <a:latin typeface="NexusSans"/>
              </a:rPr>
              <a:t>is a structured way to access information from and information system so it can be modified. In the context of database, queries are precisely formulated requests.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5068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">
            <a:extLst>
              <a:ext uri="{FF2B5EF4-FFF2-40B4-BE49-F238E27FC236}">
                <a16:creationId xmlns:a16="http://schemas.microsoft.com/office/drawing/2014/main" id="{59056416-5E08-41F9-9FD1-1F259CE00FE4}"/>
              </a:ext>
            </a:extLst>
          </p:cNvPr>
          <p:cNvSpPr txBox="1">
            <a:spLocks/>
          </p:cNvSpPr>
          <p:nvPr/>
        </p:nvSpPr>
        <p:spPr>
          <a:xfrm>
            <a:off x="576263" y="370375"/>
            <a:ext cx="7991475" cy="46275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latin typeface="Arial" charset="0"/>
                <a:cs typeface="Arial" charset="0"/>
              </a:rPr>
              <a:t>What Scopus search does automatically</a:t>
            </a:r>
            <a:endParaRPr lang="en-US" b="0" i="1" dirty="0">
              <a:latin typeface="Arial" charset="0"/>
              <a:cs typeface="Arial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0E0E7F-EC48-4BEA-8D4E-0792128D7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6262" y="1031070"/>
            <a:ext cx="7272337" cy="374205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Accented characters</a:t>
            </a:r>
            <a:r>
              <a:rPr lang="en-US" sz="1600" dirty="0">
                <a:solidFill>
                  <a:schemeClr val="accent2"/>
                </a:solidFill>
              </a:rPr>
              <a:t>: </a:t>
            </a:r>
            <a:r>
              <a:rPr lang="en-US" sz="1600" dirty="0"/>
              <a:t>work with or without the accent included</a:t>
            </a:r>
            <a:endParaRPr lang="en-US" sz="1600" b="0" dirty="0"/>
          </a:p>
          <a:p>
            <a:pPr marL="177800" indent="-177800">
              <a:tabLst>
                <a:tab pos="177800" algn="l"/>
              </a:tabLst>
            </a:pPr>
            <a:r>
              <a:rPr lang="en-US" sz="1600" dirty="0"/>
              <a:t>Example  </a:t>
            </a:r>
            <a:r>
              <a:rPr lang="en-US" sz="1600" dirty="0" err="1"/>
              <a:t>Dvořák</a:t>
            </a:r>
            <a:r>
              <a:rPr lang="en-US" sz="1600" dirty="0"/>
              <a:t> and </a:t>
            </a:r>
            <a:r>
              <a:rPr lang="en-US" sz="1600" dirty="0" err="1"/>
              <a:t>dvorak</a:t>
            </a:r>
            <a:r>
              <a:rPr lang="en-US" sz="1600" dirty="0"/>
              <a:t> both return the same results</a:t>
            </a:r>
          </a:p>
          <a:p>
            <a:endParaRPr lang="en-US" sz="700" b="0" dirty="0"/>
          </a:p>
          <a:p>
            <a:pPr marL="0" indent="0">
              <a:lnSpc>
                <a:spcPct val="110000"/>
              </a:lnSpc>
              <a:buNone/>
            </a:pPr>
            <a:r>
              <a:rPr lang="en-US" sz="1600" b="1" dirty="0">
                <a:solidFill>
                  <a:schemeClr val="accent2"/>
                </a:solidFill>
              </a:rPr>
              <a:t>Lemmatization</a:t>
            </a:r>
            <a:r>
              <a:rPr lang="en-US" sz="1600" dirty="0"/>
              <a:t> (similar but not quite the same as truncation or stemming) means that singular and plural forms, as well as adjectives, will be found if you type any of the variants. </a:t>
            </a:r>
          </a:p>
          <a:p>
            <a:pPr marL="177800" indent="-177800">
              <a:lnSpc>
                <a:spcPct val="110000"/>
              </a:lnSpc>
            </a:pPr>
            <a:r>
              <a:rPr lang="en-US" sz="1600" dirty="0"/>
              <a:t>Examples: attack and attacks; wide and wider</a:t>
            </a:r>
          </a:p>
          <a:p>
            <a:pPr marL="177800" indent="-177800">
              <a:lnSpc>
                <a:spcPct val="110000"/>
              </a:lnSpc>
            </a:pPr>
            <a:r>
              <a:rPr lang="en-US" sz="1600" dirty="0"/>
              <a:t>You can override this behavior by using the EXACT PHRASE marker</a:t>
            </a:r>
          </a:p>
          <a:p>
            <a:pPr marL="0" indent="0">
              <a:buNone/>
            </a:pPr>
            <a:endParaRPr lang="en-GB" sz="600" dirty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Equivalents</a:t>
            </a:r>
            <a:r>
              <a:rPr lang="en-US" sz="1600" dirty="0">
                <a:solidFill>
                  <a:schemeClr val="accent2"/>
                </a:solidFill>
              </a:rPr>
              <a:t>: </a:t>
            </a:r>
            <a:r>
              <a:rPr lang="en-US" sz="1600" dirty="0"/>
              <a:t>will find the equivalent terms/symbols</a:t>
            </a:r>
          </a:p>
          <a:p>
            <a:pPr marL="177800" indent="-177800">
              <a:lnSpc>
                <a:spcPct val="110000"/>
              </a:lnSpc>
            </a:pPr>
            <a:r>
              <a:rPr lang="en-US" sz="1500" dirty="0"/>
              <a:t>Example: ω and omega; behavio</a:t>
            </a:r>
            <a:r>
              <a:rPr lang="en-US" sz="1500" b="1" dirty="0"/>
              <a:t>u</a:t>
            </a:r>
            <a:r>
              <a:rPr lang="en-US" sz="1500" dirty="0"/>
              <a:t>r (British spelling) and behavior (American spelling)</a:t>
            </a:r>
          </a:p>
          <a:p>
            <a:pPr marL="0" indent="0">
              <a:buNone/>
            </a:pPr>
            <a:endParaRPr lang="en-US" sz="600" dirty="0"/>
          </a:p>
          <a:p>
            <a:pPr mar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Punctuation</a:t>
            </a:r>
            <a:r>
              <a:rPr lang="en-US" sz="1600" dirty="0">
                <a:solidFill>
                  <a:schemeClr val="accent2"/>
                </a:solidFill>
              </a:rPr>
              <a:t>: </a:t>
            </a:r>
            <a:r>
              <a:rPr lang="en-US" sz="1600" dirty="0"/>
              <a:t>Commas, hyphens,?, !  etc., are ignored</a:t>
            </a:r>
          </a:p>
          <a:p>
            <a:pPr marL="0" indent="0">
              <a:buNone/>
            </a:pPr>
            <a:endParaRPr lang="en-US" sz="600" dirty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Stop words</a:t>
            </a:r>
            <a:r>
              <a:rPr lang="en-US" sz="1600" dirty="0">
                <a:solidFill>
                  <a:schemeClr val="accent2"/>
                </a:solidFill>
              </a:rPr>
              <a:t>: </a:t>
            </a:r>
            <a:r>
              <a:rPr lang="en-US" sz="1600" dirty="0"/>
              <a:t>words like “the,” “it,” and “of” are excluded from search. Check complete list </a:t>
            </a:r>
            <a:r>
              <a:rPr lang="en-US" sz="1600" dirty="0">
                <a:hlinkClick r:id="rId3"/>
              </a:rPr>
              <a:t>here</a:t>
            </a:r>
            <a:r>
              <a:rPr lang="en-US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194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">
            <a:extLst>
              <a:ext uri="{FF2B5EF4-FFF2-40B4-BE49-F238E27FC236}">
                <a16:creationId xmlns:a16="http://schemas.microsoft.com/office/drawing/2014/main" id="{59056416-5E08-41F9-9FD1-1F259CE00FE4}"/>
              </a:ext>
            </a:extLst>
          </p:cNvPr>
          <p:cNvSpPr txBox="1">
            <a:spLocks/>
          </p:cNvSpPr>
          <p:nvPr/>
        </p:nvSpPr>
        <p:spPr>
          <a:xfrm>
            <a:off x="455613" y="294175"/>
            <a:ext cx="7991475" cy="46275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latin typeface="Arial" charset="0"/>
                <a:cs typeface="Arial" charset="0"/>
              </a:rPr>
              <a:t>Wildcards as characters</a:t>
            </a:r>
            <a:endParaRPr lang="en-US" b="0" i="1" dirty="0">
              <a:latin typeface="Arial" charset="0"/>
              <a:cs typeface="Arial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40C441-8211-0EA3-CC0B-6334EB2692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350" y="996950"/>
            <a:ext cx="7615238" cy="3657296"/>
          </a:xfrm>
        </p:spPr>
        <p:txBody>
          <a:bodyPr>
            <a:norm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d to connect adjacent terms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d to find exact phrases</a:t>
            </a:r>
          </a:p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eplace a single character anywhere in a word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FFIL (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nure?berg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 finds Nure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erg,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Nure</a:t>
            </a:r>
            <a:r>
              <a:rPr lang="en-US" sz="14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berg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…</a:t>
            </a:r>
          </a:p>
          <a:p>
            <a:endParaRPr lang="en-GB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eplace multiple characters anywhere in a word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criminal* =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iminally , criminal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“criminal*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insa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*” = criminally OR criminal + insane OR insanity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711DE5-E58F-978B-F386-311CECDC5AB3}"/>
              </a:ext>
            </a:extLst>
          </p:cNvPr>
          <p:cNvSpPr txBox="1"/>
          <p:nvPr/>
        </p:nvSpPr>
        <p:spPr>
          <a:xfrm>
            <a:off x="341113" y="2268798"/>
            <a:ext cx="4460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chemeClr val="accent2"/>
                </a:solidFill>
              </a:rPr>
              <a:t>?</a:t>
            </a:r>
            <a:endParaRPr lang="es-CO" sz="2400" b="1" dirty="0">
              <a:solidFill>
                <a:schemeClr val="accent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CC6E5C-0B5D-C8D0-AE3F-033A95BE9F53}"/>
              </a:ext>
            </a:extLst>
          </p:cNvPr>
          <p:cNvSpPr txBox="1"/>
          <p:nvPr/>
        </p:nvSpPr>
        <p:spPr>
          <a:xfrm>
            <a:off x="393896" y="3242174"/>
            <a:ext cx="388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accent2"/>
                </a:solidFill>
              </a:rPr>
              <a:t>*</a:t>
            </a:r>
            <a:endParaRPr lang="es-CO" sz="2800" b="1" dirty="0">
              <a:solidFill>
                <a:schemeClr val="accent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2A92A9-4435-61DF-5CA5-C1B2B8235BB0}"/>
              </a:ext>
            </a:extLst>
          </p:cNvPr>
          <p:cNvSpPr txBox="1"/>
          <p:nvPr/>
        </p:nvSpPr>
        <p:spPr>
          <a:xfrm>
            <a:off x="302417" y="1383790"/>
            <a:ext cx="515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accent2"/>
                </a:solidFill>
              </a:rPr>
              <a:t>{}</a:t>
            </a:r>
            <a:endParaRPr lang="es-CO" sz="2800" b="1" dirty="0">
              <a:solidFill>
                <a:schemeClr val="accent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88ED5A-BD1A-ED2F-7F74-630C91532695}"/>
              </a:ext>
            </a:extLst>
          </p:cNvPr>
          <p:cNvSpPr txBox="1"/>
          <p:nvPr/>
        </p:nvSpPr>
        <p:spPr>
          <a:xfrm>
            <a:off x="260746" y="935671"/>
            <a:ext cx="5992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accent2"/>
                </a:solidFill>
              </a:rPr>
              <a:t>“”</a:t>
            </a:r>
            <a:endParaRPr lang="es-CO" sz="28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27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">
            <a:extLst>
              <a:ext uri="{FF2B5EF4-FFF2-40B4-BE49-F238E27FC236}">
                <a16:creationId xmlns:a16="http://schemas.microsoft.com/office/drawing/2014/main" id="{59056416-5E08-41F9-9FD1-1F259CE00FE4}"/>
              </a:ext>
            </a:extLst>
          </p:cNvPr>
          <p:cNvSpPr txBox="1">
            <a:spLocks/>
          </p:cNvSpPr>
          <p:nvPr/>
        </p:nvSpPr>
        <p:spPr>
          <a:xfrm>
            <a:off x="576263" y="370375"/>
            <a:ext cx="7991475" cy="46275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latin typeface="Arial" charset="0"/>
                <a:cs typeface="Arial" charset="0"/>
              </a:rPr>
              <a:t>Boolean operators</a:t>
            </a:r>
            <a:endParaRPr lang="en-US" b="0" i="1" dirty="0">
              <a:latin typeface="Arial" charset="0"/>
              <a:cs typeface="Arial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0E0E7F-EC48-4BEA-8D4E-0792128D7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6262" y="1031070"/>
            <a:ext cx="7272337" cy="345652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2000" dirty="0">
                <a:solidFill>
                  <a:schemeClr val="accent2"/>
                </a:solidFill>
              </a:rPr>
              <a:t>And / Or / And Not</a:t>
            </a:r>
          </a:p>
          <a:p>
            <a:pPr marL="0" indent="0">
              <a:buNone/>
            </a:pPr>
            <a:r>
              <a:rPr lang="en-US" sz="1600" b="0" dirty="0"/>
              <a:t>Order of precedence rules</a:t>
            </a:r>
          </a:p>
          <a:p>
            <a:pPr marL="0" indent="0">
              <a:buNone/>
            </a:pPr>
            <a:r>
              <a:rPr lang="en-US" sz="1600" b="0" dirty="0"/>
              <a:t>Searches with multiple operators are processed in the following order:</a:t>
            </a:r>
          </a:p>
          <a:p>
            <a:r>
              <a:rPr lang="en-US" sz="1600" dirty="0"/>
              <a:t>OR</a:t>
            </a:r>
            <a:endParaRPr lang="en-US" sz="1600" b="0" dirty="0"/>
          </a:p>
          <a:p>
            <a:r>
              <a:rPr lang="en-US" sz="1600" dirty="0"/>
              <a:t>AND</a:t>
            </a:r>
            <a:endParaRPr lang="en-US" sz="1600" b="0" dirty="0"/>
          </a:p>
          <a:p>
            <a:r>
              <a:rPr lang="en-US" sz="1600" dirty="0"/>
              <a:t>AND NOT</a:t>
            </a:r>
          </a:p>
          <a:p>
            <a:endParaRPr lang="en-US" sz="1600" b="0" dirty="0"/>
          </a:p>
          <a:p>
            <a:pPr marL="0" indent="0">
              <a:buNone/>
            </a:pPr>
            <a:r>
              <a:rPr lang="en-GB" sz="1600" dirty="0"/>
              <a:t>All these searches...</a:t>
            </a:r>
            <a:endParaRPr lang="en-US" sz="1600" b="0" dirty="0"/>
          </a:p>
          <a:p>
            <a:pPr marL="0" indent="0">
              <a:buNone/>
            </a:pPr>
            <a:r>
              <a:rPr lang="en-US" sz="1600" b="0" dirty="0"/>
              <a:t>KEY (mouse OR rat AND rodent)</a:t>
            </a:r>
          </a:p>
          <a:p>
            <a:pPr marL="0" indent="0">
              <a:buNone/>
            </a:pPr>
            <a:r>
              <a:rPr lang="en-US" sz="1600" b="0" dirty="0"/>
              <a:t>KEY (rodent AND rat OR mouse)</a:t>
            </a:r>
          </a:p>
          <a:p>
            <a:pPr marL="0" indent="0">
              <a:buNone/>
            </a:pPr>
            <a:r>
              <a:rPr lang="en-US" sz="1600" b="0" dirty="0"/>
              <a:t>KEY (rat OR mouse AND rodent)</a:t>
            </a:r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E42D17-83FE-4CE4-8FF8-FCF008443903}"/>
              </a:ext>
            </a:extLst>
          </p:cNvPr>
          <p:cNvSpPr txBox="1"/>
          <p:nvPr/>
        </p:nvSpPr>
        <p:spPr>
          <a:xfrm>
            <a:off x="4355271" y="3671455"/>
            <a:ext cx="34933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KEY(mouse OR rat) AND rodent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F4981908-AE74-4437-A6D1-38D699671B4F}"/>
              </a:ext>
            </a:extLst>
          </p:cNvPr>
          <p:cNvSpPr/>
          <p:nvPr/>
        </p:nvSpPr>
        <p:spPr>
          <a:xfrm>
            <a:off x="3778980" y="3475121"/>
            <a:ext cx="256155" cy="762000"/>
          </a:xfrm>
          <a:prstGeom prst="rightBrace">
            <a:avLst>
              <a:gd name="adj1" fmla="val 8333"/>
              <a:gd name="adj2" fmla="val 48938"/>
            </a:avLst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80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">
            <a:extLst>
              <a:ext uri="{FF2B5EF4-FFF2-40B4-BE49-F238E27FC236}">
                <a16:creationId xmlns:a16="http://schemas.microsoft.com/office/drawing/2014/main" id="{59056416-5E08-41F9-9FD1-1F259CE00FE4}"/>
              </a:ext>
            </a:extLst>
          </p:cNvPr>
          <p:cNvSpPr txBox="1">
            <a:spLocks/>
          </p:cNvSpPr>
          <p:nvPr/>
        </p:nvSpPr>
        <p:spPr>
          <a:xfrm>
            <a:off x="576263" y="370375"/>
            <a:ext cx="7991475" cy="46275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latin typeface="Arial" charset="0"/>
                <a:cs typeface="Arial" charset="0"/>
              </a:rPr>
              <a:t>Proximity operators</a:t>
            </a:r>
            <a:endParaRPr lang="en-US" b="0" i="1" dirty="0">
              <a:latin typeface="Arial" charset="0"/>
              <a:cs typeface="Arial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0E0E7F-EC48-4BEA-8D4E-0792128D7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6262" y="1031070"/>
            <a:ext cx="7272337" cy="25060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>
                <a:solidFill>
                  <a:schemeClr val="accent2"/>
                </a:solidFill>
              </a:rPr>
              <a:t>W/n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tx1"/>
                </a:solidFill>
              </a:rPr>
              <a:t>pain W/15 morphine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s articles in which "pain" and "morphine" are no more than 15 terms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rt</a:t>
            </a:r>
          </a:p>
          <a:p>
            <a:pPr marL="0" indent="0">
              <a:buNone/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/n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tx1"/>
                </a:solidFill>
              </a:rPr>
              <a:t>behavioural PRE/3 disturbances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s articles in which "behavioral"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cedes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disturbances" by three or fewer words.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84B66B-9ED8-CFE6-5E2E-F6BFDF1117BF}"/>
              </a:ext>
            </a:extLst>
          </p:cNvPr>
          <p:cNvSpPr txBox="1"/>
          <p:nvPr/>
        </p:nvSpPr>
        <p:spPr>
          <a:xfrm>
            <a:off x="576262" y="3849795"/>
            <a:ext cx="3607980" cy="92333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lvl="1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0 to 255</a:t>
            </a:r>
          </a:p>
          <a:p>
            <a:pPr lvl="1"/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=15 = same sentence </a:t>
            </a:r>
          </a:p>
          <a:p>
            <a:pPr lvl="1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= 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=  same paragraph</a:t>
            </a:r>
            <a:endParaRPr lang="es-CO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EF7F63-6E62-AE0E-93FC-6A2D84A036D1}"/>
              </a:ext>
            </a:extLst>
          </p:cNvPr>
          <p:cNvSpPr txBox="1"/>
          <p:nvPr/>
        </p:nvSpPr>
        <p:spPr>
          <a:xfrm>
            <a:off x="5972176" y="3603574"/>
            <a:ext cx="2595562" cy="116955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General Operators preference</a:t>
            </a:r>
          </a:p>
          <a:p>
            <a:r>
              <a:rPr lang="en-US" sz="1400" dirty="0">
                <a:solidFill>
                  <a:schemeClr val="bg1"/>
                </a:solidFill>
              </a:rPr>
              <a:t>OR</a:t>
            </a:r>
          </a:p>
          <a:p>
            <a:r>
              <a:rPr lang="en-US" sz="1400" b="0" dirty="0">
                <a:solidFill>
                  <a:schemeClr val="accent4"/>
                </a:solidFill>
              </a:rPr>
              <a:t>W/n</a:t>
            </a:r>
            <a:r>
              <a:rPr lang="en-US" sz="1400" dirty="0">
                <a:solidFill>
                  <a:schemeClr val="accent4"/>
                </a:solidFill>
              </a:rPr>
              <a:t> ,</a:t>
            </a:r>
            <a:r>
              <a:rPr lang="en-US" sz="1400" b="0" dirty="0">
                <a:solidFill>
                  <a:schemeClr val="accent4"/>
                </a:solidFill>
              </a:rPr>
              <a:t> PRE/n</a:t>
            </a:r>
          </a:p>
          <a:p>
            <a:r>
              <a:rPr lang="en-US" sz="1400" dirty="0">
                <a:solidFill>
                  <a:schemeClr val="bg1"/>
                </a:solidFill>
              </a:rPr>
              <a:t>AND</a:t>
            </a:r>
            <a:endParaRPr lang="en-US" sz="1400" b="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AND NOT</a:t>
            </a:r>
          </a:p>
        </p:txBody>
      </p:sp>
    </p:spTree>
    <p:extLst>
      <p:ext uri="{BB962C8B-B14F-4D97-AF65-F5344CB8AC3E}">
        <p14:creationId xmlns:p14="http://schemas.microsoft.com/office/powerpoint/2010/main" val="127112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">
            <a:extLst>
              <a:ext uri="{FF2B5EF4-FFF2-40B4-BE49-F238E27FC236}">
                <a16:creationId xmlns:a16="http://schemas.microsoft.com/office/drawing/2014/main" id="{59056416-5E08-41F9-9FD1-1F259CE00FE4}"/>
              </a:ext>
            </a:extLst>
          </p:cNvPr>
          <p:cNvSpPr txBox="1">
            <a:spLocks/>
          </p:cNvSpPr>
          <p:nvPr/>
        </p:nvSpPr>
        <p:spPr>
          <a:xfrm>
            <a:off x="576263" y="370375"/>
            <a:ext cx="7991475" cy="46275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latin typeface="Arial" charset="0"/>
                <a:cs typeface="Arial" charset="0"/>
              </a:rPr>
              <a:t>Field codes</a:t>
            </a:r>
            <a:endParaRPr lang="en-US" b="0" i="1" dirty="0">
              <a:latin typeface="Arial" charset="0"/>
              <a:cs typeface="Arial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0E0E7F-EC48-4BEA-8D4E-0792128D7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6263" y="1031070"/>
            <a:ext cx="4757738" cy="250602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1600" b="0" i="0" dirty="0">
                <a:solidFill>
                  <a:srgbClr val="2E2E2E"/>
                </a:solidFill>
                <a:effectLst/>
                <a:highlight>
                  <a:srgbClr val="FFFFFF"/>
                </a:highlight>
                <a:latin typeface="+mj-lt"/>
              </a:rPr>
              <a:t>You can search for a term in a specific field by entering the field code in your advanced search.</a:t>
            </a:r>
          </a:p>
          <a:p>
            <a:pPr marL="0" indent="0">
              <a:buNone/>
            </a:pPr>
            <a:endParaRPr lang="en-GB" sz="1600" dirty="0">
              <a:solidFill>
                <a:srgbClr val="2E2E2E"/>
              </a:solidFill>
              <a:highlight>
                <a:srgbClr val="FFFFFF"/>
              </a:highlight>
              <a:latin typeface="+mj-lt"/>
            </a:endParaRPr>
          </a:p>
          <a:p>
            <a:pPr marL="0" indent="0">
              <a:buNone/>
            </a:pPr>
            <a:r>
              <a:rPr lang="en-GB" sz="1600" b="0" i="0" dirty="0">
                <a:solidFill>
                  <a:srgbClr val="2E2E2E"/>
                </a:solidFill>
                <a:effectLst/>
                <a:highlight>
                  <a:srgbClr val="FFFFFF"/>
                </a:highlight>
                <a:latin typeface="+mj-lt"/>
              </a:rPr>
              <a:t>The search </a:t>
            </a:r>
            <a:r>
              <a:rPr lang="en-GB" sz="1600" b="0" i="0" dirty="0">
                <a:solidFill>
                  <a:schemeClr val="accent2"/>
                </a:solidFill>
                <a:effectLst/>
                <a:highlight>
                  <a:srgbClr val="FFFFFF"/>
                </a:highlight>
                <a:latin typeface="+mj-lt"/>
              </a:rPr>
              <a:t>TITLE-ABS-KEY</a:t>
            </a:r>
            <a:r>
              <a:rPr lang="en-GB" sz="1600" b="0" i="0" dirty="0">
                <a:solidFill>
                  <a:srgbClr val="2E2E2E"/>
                </a:solidFill>
                <a:effectLst/>
                <a:highlight>
                  <a:srgbClr val="FFFFFF"/>
                </a:highlight>
                <a:latin typeface="+mj-lt"/>
              </a:rPr>
              <a:t>(prion disease) would return documents where the terms appear in the title, abstract or keywords.</a:t>
            </a:r>
          </a:p>
          <a:p>
            <a:pPr marL="0" indent="0">
              <a:buNone/>
            </a:pPr>
            <a:endParaRPr lang="en-GB" sz="1600" dirty="0">
              <a:solidFill>
                <a:srgbClr val="2E2E2E"/>
              </a:solidFill>
              <a:highlight>
                <a:srgbClr val="FFFFFF"/>
              </a:highlight>
              <a:latin typeface="+mj-lt"/>
            </a:endParaRPr>
          </a:p>
          <a:p>
            <a:pPr marL="0" indent="0">
              <a:buNone/>
            </a:pPr>
            <a:r>
              <a:rPr lang="en-GB" sz="1600" b="0" i="0" dirty="0">
                <a:solidFill>
                  <a:schemeClr val="accent2"/>
                </a:solidFill>
                <a:effectLst/>
                <a:highlight>
                  <a:srgbClr val="FFFFFF"/>
                </a:highlight>
                <a:latin typeface="+mj-lt"/>
              </a:rPr>
              <a:t>PUBLISHER</a:t>
            </a:r>
            <a:r>
              <a:rPr lang="en-GB" sz="1600" b="0" i="0" dirty="0">
                <a:solidFill>
                  <a:srgbClr val="2E2E2E"/>
                </a:solidFill>
                <a:effectLst/>
                <a:highlight>
                  <a:srgbClr val="FFFFFF"/>
                </a:highlight>
                <a:latin typeface="+mj-lt"/>
              </a:rPr>
              <a:t>(Elsevier) will return documents from Elsevier. </a:t>
            </a:r>
          </a:p>
          <a:p>
            <a:pPr marL="0" indent="0">
              <a:buNone/>
            </a:pPr>
            <a:endParaRPr lang="en-GB" sz="1600" b="0" i="0" dirty="0">
              <a:solidFill>
                <a:srgbClr val="2E2E2E"/>
              </a:solidFill>
              <a:effectLst/>
              <a:highlight>
                <a:srgbClr val="FFFFFF"/>
              </a:highlight>
              <a:latin typeface="NexusSans"/>
            </a:endParaRPr>
          </a:p>
          <a:p>
            <a:pPr marL="0" indent="0">
              <a:buNone/>
            </a:pPr>
            <a:endParaRPr lang="en-GB" sz="1600" dirty="0">
              <a:solidFill>
                <a:srgbClr val="2E2E2E"/>
              </a:solidFill>
              <a:highlight>
                <a:srgbClr val="FFFFFF"/>
              </a:highlight>
              <a:latin typeface="NexusSans"/>
            </a:endParaRPr>
          </a:p>
          <a:p>
            <a:pPr marL="0" indent="0">
              <a:buNone/>
            </a:pPr>
            <a:endParaRPr lang="en-GB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BC6C2B-202C-24FC-A2A8-2E696E67E9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0700" y="175374"/>
            <a:ext cx="2486530" cy="401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98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1033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1895935-4782-4ED3-9F2E-DA9302EF7568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0B725E11-DC5A-4140-B411-6A18A3B7ACAE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8CCF67CE-5720-4FD2-9BFE-20E687D7571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49ac42a-3eb4-4074-b885-aea26bd6241e}" enabled="1" method="Standard" siteId="{9274ee3f-9425-4109-a27f-9fb15c10675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7396</TotalTime>
  <Words>493</Words>
  <Application>Microsoft Office PowerPoint</Application>
  <PresentationFormat>Presentación en pantalla (16:9)</PresentationFormat>
  <Paragraphs>81</Paragraphs>
  <Slides>7</Slides>
  <Notes>6</Notes>
  <HiddenSlides>0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Títulos de diapositiva</vt:lpstr>
      </vt:variant>
      <vt:variant>
        <vt:i4>7</vt:i4>
      </vt:variant>
    </vt:vector>
  </HeadingPairs>
  <TitlesOfParts>
    <vt:vector size="15" baseType="lpstr">
      <vt:lpstr>Arial</vt:lpstr>
      <vt:lpstr>Calibri</vt:lpstr>
      <vt:lpstr>Courier New</vt:lpstr>
      <vt:lpstr>NexusSans</vt:lpstr>
      <vt:lpstr>Elsevier light</vt:lpstr>
      <vt:lpstr>Elsevier light - Charts and Data</vt:lpstr>
      <vt:lpstr>Elsevier dark</vt:lpstr>
      <vt:lpstr>Elsevier dark - Charts and Data</vt:lpstr>
      <vt:lpstr>Scopus Advanced Search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opus Advanced Search</dc:title>
  <dc:creator>Fiorin, Christiane (ELS-AMS)</dc:creator>
  <cp:lastModifiedBy>Secades, Pablo (ELS-HBE)</cp:lastModifiedBy>
  <cp:revision>15</cp:revision>
  <cp:lastPrinted>2018-07-23T12:36:44Z</cp:lastPrinted>
  <dcterms:created xsi:type="dcterms:W3CDTF">2024-06-03T13:53:21Z</dcterms:created>
  <dcterms:modified xsi:type="dcterms:W3CDTF">2025-11-04T16:37:50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4-06-04T09:51:37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07cc618f-19f0-405f-9c88-b61b33de1827</vt:lpwstr>
  </property>
  <property fmtid="{D5CDD505-2E9C-101B-9397-08002B2CF9AE}" pid="9" name="MSIP_Label_549ac42a-3eb4-4074-b885-aea26bd6241e_ContentBits">
    <vt:lpwstr>0</vt:lpwstr>
  </property>
</Properties>
</file>